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1614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30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2024 ГОД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460729" y="1296827"/>
            <a:ext cx="2527096" cy="5014910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9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рым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Оно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унгокоче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Александрово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. Агинское 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6412176" y="1271126"/>
            <a:ext cx="2436888" cy="5040611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:</a:t>
            </a: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 defTabSz="273071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099809" y="997897"/>
            <a:ext cx="3200383" cy="5688632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МО: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ита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овянн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аргу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ейский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ч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те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ёкм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, 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Горный ЗАТО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каме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ровск-Забайкальский  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</TotalTime>
  <Words>73</Words>
  <Application>Microsoft Office PowerPoint</Application>
  <PresentationFormat>Экран (4:3)</PresentationFormat>
  <Paragraphs>53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РЕЙТИНГ МУНИЦИПАЛЬНЫХ ОБРАЗОВАНИЙ ПО УРОВНЮ ОТКРЫТОСТИ БЮДЖЕТНЫХ ДАННЫХ ЗА 2024 ГОД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user</cp:lastModifiedBy>
  <cp:revision>28</cp:revision>
  <cp:lastPrinted>2025-05-14T01:20:42Z</cp:lastPrinted>
  <dcterms:created xsi:type="dcterms:W3CDTF">2022-06-27T05:53:54Z</dcterms:created>
  <dcterms:modified xsi:type="dcterms:W3CDTF">2025-07-30T03:38:49Z</dcterms:modified>
</cp:coreProperties>
</file>